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8"/>
  </p:notesMasterIdLst>
  <p:handoutMasterIdLst>
    <p:handoutMasterId r:id="rId19"/>
  </p:handoutMasterIdLst>
  <p:sldIdLst>
    <p:sldId id="262" r:id="rId2"/>
    <p:sldId id="306" r:id="rId3"/>
    <p:sldId id="283" r:id="rId4"/>
    <p:sldId id="280" r:id="rId5"/>
    <p:sldId id="286" r:id="rId6"/>
    <p:sldId id="285" r:id="rId7"/>
    <p:sldId id="310" r:id="rId8"/>
    <p:sldId id="290" r:id="rId9"/>
    <p:sldId id="302" r:id="rId10"/>
    <p:sldId id="301" r:id="rId11"/>
    <p:sldId id="292" r:id="rId12"/>
    <p:sldId id="293" r:id="rId13"/>
    <p:sldId id="307" r:id="rId14"/>
    <p:sldId id="308" r:id="rId15"/>
    <p:sldId id="309" r:id="rId16"/>
    <p:sldId id="304" r:id="rId17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75" d="100"/>
          <a:sy n="75" d="100"/>
        </p:scale>
        <p:origin x="1944" y="6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27/10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Recyclabilité</a:t>
            </a:r>
          </a:p>
          <a:p>
            <a:r>
              <a:rPr lang="fr-FR" b="1" dirty="0"/>
              <a:t>Appel à Projet : </a:t>
            </a:r>
            <a:r>
              <a:rPr lang="fr-FR" dirty="0"/>
              <a:t>Recyclage des Plastiques</a:t>
            </a: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a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4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4b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France 2030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du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1137900" cy="770095"/>
          </a:xfrm>
        </p:spPr>
        <p:txBody>
          <a:bodyPr/>
          <a:lstStyle/>
          <a:p>
            <a:r>
              <a:rPr lang="fr-FR" dirty="0"/>
              <a:t>3. Solution ou service développé (plan d’approvisionnement et bilan matières)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770095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Présenter ici le plan d’approvisionnement de l’unité ainsi qu’un bilan matières entrées-sorties</a:t>
            </a:r>
          </a:p>
        </p:txBody>
      </p:sp>
    </p:spTree>
    <p:extLst>
      <p:ext uri="{BB962C8B-B14F-4D97-AF65-F5344CB8AC3E}">
        <p14:creationId xmlns:p14="http://schemas.microsoft.com/office/powerpoint/2010/main" val="115862218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658</Words>
  <Application>Microsoft Office PowerPoint</Application>
  <PresentationFormat>Grand écran</PresentationFormat>
  <Paragraphs>209</Paragraphs>
  <Slides>16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5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3. Solution ou service développé (plan d’approvisionnement et bilan matières)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a) </vt:lpstr>
      <vt:lpstr>7. Marché(s) visé(s) (cf. Annexe 3b et 4b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4b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GUEUDET Alice</cp:lastModifiedBy>
  <cp:revision>825</cp:revision>
  <cp:lastPrinted>2017-04-19T15:45:38Z</cp:lastPrinted>
  <dcterms:created xsi:type="dcterms:W3CDTF">2015-06-10T16:17:23Z</dcterms:created>
  <dcterms:modified xsi:type="dcterms:W3CDTF">2022-10-27T12:29:44Z</dcterms:modified>
</cp:coreProperties>
</file>